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  <p:sldMasterId id="2147483946" r:id="rId2"/>
  </p:sldMasterIdLst>
  <p:notesMasterIdLst>
    <p:notesMasterId r:id="rId17"/>
  </p:notesMasterIdLst>
  <p:handoutMasterIdLst>
    <p:handoutMasterId r:id="rId18"/>
  </p:handoutMasterIdLst>
  <p:sldIdLst>
    <p:sldId id="358" r:id="rId3"/>
    <p:sldId id="373" r:id="rId4"/>
    <p:sldId id="374" r:id="rId5"/>
    <p:sldId id="361" r:id="rId6"/>
    <p:sldId id="368" r:id="rId7"/>
    <p:sldId id="375" r:id="rId8"/>
    <p:sldId id="376" r:id="rId9"/>
    <p:sldId id="381" r:id="rId10"/>
    <p:sldId id="377" r:id="rId11"/>
    <p:sldId id="378" r:id="rId12"/>
    <p:sldId id="380" r:id="rId13"/>
    <p:sldId id="379" r:id="rId14"/>
    <p:sldId id="382" r:id="rId15"/>
    <p:sldId id="383" r:id="rId16"/>
  </p:sldIdLst>
  <p:sldSz cx="9906000" cy="6858000" type="A4"/>
  <p:notesSz cx="6797675" cy="9874250"/>
  <p:custDataLst>
    <p:tags r:id="rId1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4">
          <p15:clr>
            <a:srgbClr val="A4A3A4"/>
          </p15:clr>
        </p15:guide>
        <p15:guide id="2" pos="59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A2BFAF"/>
    <a:srgbClr val="ACB7B2"/>
    <a:srgbClr val="AF1C63"/>
    <a:srgbClr val="6A9529"/>
    <a:srgbClr val="00A0D6"/>
    <a:srgbClr val="0085B3"/>
    <a:srgbClr val="005B7C"/>
    <a:srgbClr val="909090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155" autoAdjust="0"/>
    <p:restoredTop sz="65342" autoAdjust="0"/>
  </p:normalViewPr>
  <p:slideViewPr>
    <p:cSldViewPr snapToGrid="0">
      <p:cViewPr varScale="1">
        <p:scale>
          <a:sx n="58" d="100"/>
          <a:sy n="58" d="100"/>
        </p:scale>
        <p:origin x="62" y="62"/>
      </p:cViewPr>
      <p:guideLst>
        <p:guide orient="horz" pos="954"/>
        <p:guide pos="5957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90" d="100"/>
          <a:sy n="90" d="100"/>
        </p:scale>
        <p:origin x="-1982" y="-5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6797675" cy="493176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en-US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en-US" sz="800" smtClean="0">
                <a:latin typeface="Arial" pitchFamily="34" charset="0"/>
                <a:cs typeface="Arial" pitchFamily="34" charset="0"/>
              </a:rPr>
              <a:t>aaaaa</a:t>
            </a:r>
            <a:endParaRPr lang="en-US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379542"/>
            <a:ext cx="2945862" cy="493176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en-US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5956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8"/>
            <a:ext cx="5438140" cy="4443413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797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6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Does not require other libraries such as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myJ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jQuery and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yJS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requires or Ajax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02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9561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236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aaaa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60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5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image" Target="../media/image4.jpeg"/><Relationship Id="rId4" Type="http://schemas.openxmlformats.org/officeDocument/2006/relationships/tags" Target="../tags/tag12.xml"/><Relationship Id="rId9" Type="http://schemas.openxmlformats.org/officeDocument/2006/relationships/image" Target="../media/image3.jpeg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6.bin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emf"/><Relationship Id="rId4" Type="http://schemas.openxmlformats.org/officeDocument/2006/relationships/tags" Target="../tags/tag31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05202-16-Core-Services-Kick-off-ppt-cover-Option-3-blan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9207"/>
            <a:ext cx="9906000" cy="6839586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2"/>
            </p:custDataLst>
          </p:nvPr>
        </p:nvSpPr>
        <p:spPr>
          <a:xfrm>
            <a:off x="0" y="6400876"/>
            <a:ext cx="9906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/>
            <a:endParaRPr lang="en-US" sz="1300" dirty="0" smtClean="0"/>
          </a:p>
        </p:txBody>
      </p:sp>
      <p:sp>
        <p:nvSpPr>
          <p:cNvPr id="17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9906318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0 w 10560222"/>
              <a:gd name="connsiteY0" fmla="*/ 0 h 2958168"/>
              <a:gd name="connsiteX1" fmla="*/ 10559466 w 10560222"/>
              <a:gd name="connsiteY1" fmla="*/ 0 h 2958168"/>
              <a:gd name="connsiteX2" fmla="*/ 10558968 w 10560222"/>
              <a:gd name="connsiteY2" fmla="*/ 1476338 h 2958168"/>
              <a:gd name="connsiteX3" fmla="*/ 9286405 w 10560222"/>
              <a:gd name="connsiteY3" fmla="*/ 2153103 h 2958168"/>
              <a:gd name="connsiteX4" fmla="*/ 2315369 w 10560222"/>
              <a:gd name="connsiteY4" fmla="*/ 2159512 h 2958168"/>
              <a:gd name="connsiteX5" fmla="*/ 1178700 w 10560222"/>
              <a:gd name="connsiteY5" fmla="*/ 2958168 h 2958168"/>
              <a:gd name="connsiteX6" fmla="*/ 0 w 10560222"/>
              <a:gd name="connsiteY6" fmla="*/ 2174065 h 2958168"/>
              <a:gd name="connsiteX7" fmla="*/ 0 w 10560222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0222" h="2958168">
                <a:moveTo>
                  <a:pt x="0" y="0"/>
                </a:moveTo>
                <a:lnTo>
                  <a:pt x="10559466" y="0"/>
                </a:lnTo>
                <a:cubicBezTo>
                  <a:pt x="10559979" y="67600"/>
                  <a:pt x="10560222" y="1432923"/>
                  <a:pt x="10558968" y="1476338"/>
                </a:cubicBezTo>
                <a:cubicBezTo>
                  <a:pt x="10081572" y="2148347"/>
                  <a:pt x="9702991" y="2158423"/>
                  <a:pt x="9286405" y="2153103"/>
                </a:cubicBezTo>
                <a:lnTo>
                  <a:pt x="2315369" y="2159512"/>
                </a:lnTo>
                <a:cubicBezTo>
                  <a:pt x="1738155" y="2192654"/>
                  <a:pt x="1370309" y="2495346"/>
                  <a:pt x="1178700" y="2958168"/>
                </a:cubicBezTo>
                <a:cubicBezTo>
                  <a:pt x="880346" y="2254391"/>
                  <a:pt x="278640" y="2173187"/>
                  <a:pt x="0" y="2174065"/>
                </a:cubicBezTo>
                <a:cubicBezTo>
                  <a:pt x="2067" y="2138552"/>
                  <a:pt x="1272" y="95582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127000" dist="25400" dir="5400000" algn="t" rotWithShape="0">
              <a:schemeClr val="tx1"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1" name="Image 10" descr="Capgemini_logo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5690" y="658705"/>
            <a:ext cx="2880000" cy="6860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569786" y="6520696"/>
            <a:ext cx="2880000" cy="22935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-344371" y="3161808"/>
            <a:ext cx="4431523" cy="1098157"/>
          </a:xfrm>
        </p:spPr>
        <p:txBody>
          <a:bodyPr lIns="720000" tIns="33059" rIns="33059" bIns="33059" anchor="t"/>
          <a:lstStyle>
            <a:lvl1pPr marL="0" indent="0"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-331655" y="4415239"/>
            <a:ext cx="4549435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5" name="Picture 14" descr="Core-Services-Logo-updated-hi-res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6341425" y="577438"/>
            <a:ext cx="2857500" cy="857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nds round table full size.png"/>
          <p:cNvPicPr>
            <a:picLocks noChangeAspect="1"/>
          </p:cNvPicPr>
          <p:nvPr userDrawn="1"/>
        </p:nvPicPr>
        <p:blipFill>
          <a:blip r:embed="rId6" cstate="print"/>
          <a:srcRect t="5035"/>
          <a:stretch>
            <a:fillRect/>
          </a:stretch>
        </p:blipFill>
        <p:spPr>
          <a:xfrm>
            <a:off x="0" y="0"/>
            <a:ext cx="9906000" cy="649520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3"/>
            </p:custDataLst>
          </p:nvPr>
        </p:nvSpPr>
        <p:spPr bwMode="auto">
          <a:xfrm flipV="1">
            <a:off x="-1175" y="3384911"/>
            <a:ext cx="9907176" cy="3473089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1864314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30995 w 10564100"/>
              <a:gd name="connsiteY6" fmla="*/ 0 h 3793347"/>
              <a:gd name="connsiteX0" fmla="*/ 10562333 w 10564100"/>
              <a:gd name="connsiteY0" fmla="*/ 0 h 3793347"/>
              <a:gd name="connsiteX1" fmla="*/ 10562846 w 10564100"/>
              <a:gd name="connsiteY1" fmla="*/ 3793347 h 3793347"/>
              <a:gd name="connsiteX2" fmla="*/ 9024256 w 10564100"/>
              <a:gd name="connsiteY2" fmla="*/ 2944606 h 3793347"/>
              <a:gd name="connsiteX3" fmla="*/ 2294717 w 10564100"/>
              <a:gd name="connsiteY3" fmla="*/ 2929750 h 3793347"/>
              <a:gd name="connsiteX4" fmla="*/ 1200045 w 10564100"/>
              <a:gd name="connsiteY4" fmla="*/ 2207950 h 3793347"/>
              <a:gd name="connsiteX5" fmla="*/ 0 w 10564100"/>
              <a:gd name="connsiteY5" fmla="*/ 2933771 h 3793347"/>
              <a:gd name="connsiteX6" fmla="*/ 1254 w 10564100"/>
              <a:gd name="connsiteY6" fmla="*/ 0 h 3793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100" h="3793347">
                <a:moveTo>
                  <a:pt x="10562333" y="0"/>
                </a:moveTo>
                <a:cubicBezTo>
                  <a:pt x="10562846" y="67600"/>
                  <a:pt x="10564100" y="3749932"/>
                  <a:pt x="10562846" y="3793347"/>
                </a:cubicBezTo>
                <a:cubicBezTo>
                  <a:pt x="10190427" y="3056010"/>
                  <a:pt x="9461842" y="2928661"/>
                  <a:pt x="9024256" y="2944606"/>
                </a:cubicBezTo>
                <a:lnTo>
                  <a:pt x="2294717" y="2929750"/>
                </a:lnTo>
                <a:cubicBezTo>
                  <a:pt x="1854084" y="2930298"/>
                  <a:pt x="1423155" y="2679996"/>
                  <a:pt x="1200045" y="2207950"/>
                </a:cubicBezTo>
                <a:cubicBezTo>
                  <a:pt x="964689" y="2886404"/>
                  <a:pt x="278640" y="2932893"/>
                  <a:pt x="0" y="2933771"/>
                </a:cubicBezTo>
                <a:cubicBezTo>
                  <a:pt x="2067" y="2898258"/>
                  <a:pt x="2526" y="95582"/>
                  <a:pt x="1254" y="0"/>
                </a:cubicBezTo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4882388"/>
            <a:ext cx="9906000" cy="1362097"/>
          </a:xfrm>
          <a:prstGeom prst="rect">
            <a:avLst/>
          </a:prstGeom>
        </p:spPr>
        <p:txBody>
          <a:bodyPr vert="horz" lIns="826470" tIns="33059" rIns="66118" bIns="33059" rtlCol="0" anchor="t" anchorCtr="0">
            <a:noAutofit/>
          </a:bodyPr>
          <a:lstStyle>
            <a:lvl1pPr algn="l" defTabSz="914342" rtl="0" eaLnBrk="1" latinLnBrk="0" hangingPunct="1">
              <a:spcBef>
                <a:spcPct val="0"/>
              </a:spcBef>
              <a:buNone/>
              <a:defRPr lang="en-US" sz="4000" b="0" kern="1200" cap="none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7"/>
          <p:cNvSpPr>
            <a:spLocks/>
          </p:cNvSpPr>
          <p:nvPr userDrawn="1"/>
        </p:nvSpPr>
        <p:spPr bwMode="auto">
          <a:xfrm flipH="1">
            <a:off x="0" y="-10886"/>
            <a:ext cx="3981400" cy="6858000"/>
          </a:xfrm>
          <a:custGeom>
            <a:avLst/>
            <a:gdLst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10000 w 38019"/>
              <a:gd name="connsiteY7" fmla="*/ 10000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0 h 10000"/>
              <a:gd name="connsiteX1" fmla="*/ 2443 w 38019"/>
              <a:gd name="connsiteY1" fmla="*/ 1594 h 10000"/>
              <a:gd name="connsiteX2" fmla="*/ 1145 w 38019"/>
              <a:gd name="connsiteY2" fmla="*/ 2750 h 10000"/>
              <a:gd name="connsiteX3" fmla="*/ 0 w 38019"/>
              <a:gd name="connsiteY3" fmla="*/ 3031 h 10000"/>
              <a:gd name="connsiteX4" fmla="*/ 420 w 38019"/>
              <a:gd name="connsiteY4" fmla="*/ 3124 h 10000"/>
              <a:gd name="connsiteX5" fmla="*/ 2443 w 38019"/>
              <a:gd name="connsiteY5" fmla="*/ 4538 h 10000"/>
              <a:gd name="connsiteX6" fmla="*/ 2443 w 38019"/>
              <a:gd name="connsiteY6" fmla="*/ 10000 h 10000"/>
              <a:gd name="connsiteX7" fmla="*/ 38019 w 38019"/>
              <a:gd name="connsiteY7" fmla="*/ 9997 h 10000"/>
              <a:gd name="connsiteX8" fmla="*/ 38019 w 38019"/>
              <a:gd name="connsiteY8" fmla="*/ 0 h 10000"/>
              <a:gd name="connsiteX9" fmla="*/ 2443 w 38019"/>
              <a:gd name="connsiteY9" fmla="*/ 0 h 10000"/>
              <a:gd name="connsiteX0" fmla="*/ 2443 w 38019"/>
              <a:gd name="connsiteY0" fmla="*/ 14 h 10014"/>
              <a:gd name="connsiteX1" fmla="*/ 2443 w 38019"/>
              <a:gd name="connsiteY1" fmla="*/ 1608 h 10014"/>
              <a:gd name="connsiteX2" fmla="*/ 1145 w 38019"/>
              <a:gd name="connsiteY2" fmla="*/ 2764 h 10014"/>
              <a:gd name="connsiteX3" fmla="*/ 0 w 38019"/>
              <a:gd name="connsiteY3" fmla="*/ 3045 h 10014"/>
              <a:gd name="connsiteX4" fmla="*/ 420 w 38019"/>
              <a:gd name="connsiteY4" fmla="*/ 3138 h 10014"/>
              <a:gd name="connsiteX5" fmla="*/ 2443 w 38019"/>
              <a:gd name="connsiteY5" fmla="*/ 4552 h 10014"/>
              <a:gd name="connsiteX6" fmla="*/ 2443 w 38019"/>
              <a:gd name="connsiteY6" fmla="*/ 10014 h 10014"/>
              <a:gd name="connsiteX7" fmla="*/ 38019 w 38019"/>
              <a:gd name="connsiteY7" fmla="*/ 10011 h 10014"/>
              <a:gd name="connsiteX8" fmla="*/ 33103 w 38019"/>
              <a:gd name="connsiteY8" fmla="*/ 0 h 10014"/>
              <a:gd name="connsiteX9" fmla="*/ 2443 w 38019"/>
              <a:gd name="connsiteY9" fmla="*/ 14 h 10014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3103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1946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14 h 10025"/>
              <a:gd name="connsiteX1" fmla="*/ 2443 w 33832"/>
              <a:gd name="connsiteY1" fmla="*/ 1608 h 10025"/>
              <a:gd name="connsiteX2" fmla="*/ 1145 w 33832"/>
              <a:gd name="connsiteY2" fmla="*/ 2764 h 10025"/>
              <a:gd name="connsiteX3" fmla="*/ 0 w 33832"/>
              <a:gd name="connsiteY3" fmla="*/ 3045 h 10025"/>
              <a:gd name="connsiteX4" fmla="*/ 420 w 33832"/>
              <a:gd name="connsiteY4" fmla="*/ 3138 h 10025"/>
              <a:gd name="connsiteX5" fmla="*/ 2443 w 33832"/>
              <a:gd name="connsiteY5" fmla="*/ 4552 h 10025"/>
              <a:gd name="connsiteX6" fmla="*/ 2443 w 33832"/>
              <a:gd name="connsiteY6" fmla="*/ 10014 h 10025"/>
              <a:gd name="connsiteX7" fmla="*/ 33832 w 33832"/>
              <a:gd name="connsiteY7" fmla="*/ 10025 h 10025"/>
              <a:gd name="connsiteX8" fmla="*/ 32061 w 33832"/>
              <a:gd name="connsiteY8" fmla="*/ 0 h 10025"/>
              <a:gd name="connsiteX9" fmla="*/ 2443 w 33832"/>
              <a:gd name="connsiteY9" fmla="*/ 14 h 10025"/>
              <a:gd name="connsiteX0" fmla="*/ 2443 w 33832"/>
              <a:gd name="connsiteY0" fmla="*/ 28 h 10039"/>
              <a:gd name="connsiteX1" fmla="*/ 2443 w 33832"/>
              <a:gd name="connsiteY1" fmla="*/ 1622 h 10039"/>
              <a:gd name="connsiteX2" fmla="*/ 1145 w 33832"/>
              <a:gd name="connsiteY2" fmla="*/ 2778 h 10039"/>
              <a:gd name="connsiteX3" fmla="*/ 0 w 33832"/>
              <a:gd name="connsiteY3" fmla="*/ 3059 h 10039"/>
              <a:gd name="connsiteX4" fmla="*/ 420 w 33832"/>
              <a:gd name="connsiteY4" fmla="*/ 3152 h 10039"/>
              <a:gd name="connsiteX5" fmla="*/ 2443 w 33832"/>
              <a:gd name="connsiteY5" fmla="*/ 4566 h 10039"/>
              <a:gd name="connsiteX6" fmla="*/ 2443 w 33832"/>
              <a:gd name="connsiteY6" fmla="*/ 10028 h 10039"/>
              <a:gd name="connsiteX7" fmla="*/ 33832 w 33832"/>
              <a:gd name="connsiteY7" fmla="*/ 10039 h 10039"/>
              <a:gd name="connsiteX8" fmla="*/ 31946 w 33832"/>
              <a:gd name="connsiteY8" fmla="*/ 0 h 10039"/>
              <a:gd name="connsiteX9" fmla="*/ 2443 w 33832"/>
              <a:gd name="connsiteY9" fmla="*/ 28 h 10039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2061 w 33832"/>
              <a:gd name="connsiteY8" fmla="*/ 69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27 h 10011"/>
              <a:gd name="connsiteX9" fmla="*/ 2443 w 33832"/>
              <a:gd name="connsiteY9" fmla="*/ 0 h 10011"/>
              <a:gd name="connsiteX0" fmla="*/ 2443 w 33832"/>
              <a:gd name="connsiteY0" fmla="*/ 0 h 10011"/>
              <a:gd name="connsiteX1" fmla="*/ 2443 w 33832"/>
              <a:gd name="connsiteY1" fmla="*/ 1594 h 10011"/>
              <a:gd name="connsiteX2" fmla="*/ 1145 w 33832"/>
              <a:gd name="connsiteY2" fmla="*/ 2750 h 10011"/>
              <a:gd name="connsiteX3" fmla="*/ 0 w 33832"/>
              <a:gd name="connsiteY3" fmla="*/ 3031 h 10011"/>
              <a:gd name="connsiteX4" fmla="*/ 420 w 33832"/>
              <a:gd name="connsiteY4" fmla="*/ 3124 h 10011"/>
              <a:gd name="connsiteX5" fmla="*/ 2443 w 33832"/>
              <a:gd name="connsiteY5" fmla="*/ 4538 h 10011"/>
              <a:gd name="connsiteX6" fmla="*/ 2443 w 33832"/>
              <a:gd name="connsiteY6" fmla="*/ 10000 h 10011"/>
              <a:gd name="connsiteX7" fmla="*/ 33832 w 33832"/>
              <a:gd name="connsiteY7" fmla="*/ 10011 h 10011"/>
              <a:gd name="connsiteX8" fmla="*/ 31946 w 33832"/>
              <a:gd name="connsiteY8" fmla="*/ 13 h 10011"/>
              <a:gd name="connsiteX9" fmla="*/ 2443 w 33832"/>
              <a:gd name="connsiteY9" fmla="*/ 0 h 10011"/>
              <a:gd name="connsiteX0" fmla="*/ 2443 w 33832"/>
              <a:gd name="connsiteY0" fmla="*/ 29 h 10040"/>
              <a:gd name="connsiteX1" fmla="*/ 2443 w 33832"/>
              <a:gd name="connsiteY1" fmla="*/ 1623 h 10040"/>
              <a:gd name="connsiteX2" fmla="*/ 1145 w 33832"/>
              <a:gd name="connsiteY2" fmla="*/ 2779 h 10040"/>
              <a:gd name="connsiteX3" fmla="*/ 0 w 33832"/>
              <a:gd name="connsiteY3" fmla="*/ 3060 h 10040"/>
              <a:gd name="connsiteX4" fmla="*/ 420 w 33832"/>
              <a:gd name="connsiteY4" fmla="*/ 3153 h 10040"/>
              <a:gd name="connsiteX5" fmla="*/ 2443 w 33832"/>
              <a:gd name="connsiteY5" fmla="*/ 4567 h 10040"/>
              <a:gd name="connsiteX6" fmla="*/ 2443 w 33832"/>
              <a:gd name="connsiteY6" fmla="*/ 10029 h 10040"/>
              <a:gd name="connsiteX7" fmla="*/ 33832 w 33832"/>
              <a:gd name="connsiteY7" fmla="*/ 10040 h 10040"/>
              <a:gd name="connsiteX8" fmla="*/ 31946 w 33832"/>
              <a:gd name="connsiteY8" fmla="*/ 0 h 10040"/>
              <a:gd name="connsiteX9" fmla="*/ 2443 w 33832"/>
              <a:gd name="connsiteY9" fmla="*/ 29 h 10040"/>
              <a:gd name="connsiteX0" fmla="*/ 2443 w 31997"/>
              <a:gd name="connsiteY0" fmla="*/ 29 h 10029"/>
              <a:gd name="connsiteX1" fmla="*/ 2443 w 31997"/>
              <a:gd name="connsiteY1" fmla="*/ 1623 h 10029"/>
              <a:gd name="connsiteX2" fmla="*/ 1145 w 31997"/>
              <a:gd name="connsiteY2" fmla="*/ 2779 h 10029"/>
              <a:gd name="connsiteX3" fmla="*/ 0 w 31997"/>
              <a:gd name="connsiteY3" fmla="*/ 3060 h 10029"/>
              <a:gd name="connsiteX4" fmla="*/ 420 w 31997"/>
              <a:gd name="connsiteY4" fmla="*/ 3153 h 10029"/>
              <a:gd name="connsiteX5" fmla="*/ 2443 w 31997"/>
              <a:gd name="connsiteY5" fmla="*/ 4567 h 10029"/>
              <a:gd name="connsiteX6" fmla="*/ 2443 w 31997"/>
              <a:gd name="connsiteY6" fmla="*/ 10029 h 10029"/>
              <a:gd name="connsiteX7" fmla="*/ 31997 w 31997"/>
              <a:gd name="connsiteY7" fmla="*/ 10026 h 10029"/>
              <a:gd name="connsiteX8" fmla="*/ 31946 w 31997"/>
              <a:gd name="connsiteY8" fmla="*/ 0 h 10029"/>
              <a:gd name="connsiteX9" fmla="*/ 2443 w 31997"/>
              <a:gd name="connsiteY9" fmla="*/ 29 h 10029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46 w 31997"/>
              <a:gd name="connsiteY8" fmla="*/ 13 h 10042"/>
              <a:gd name="connsiteX9" fmla="*/ 2443 w 31997"/>
              <a:gd name="connsiteY9" fmla="*/ 0 h 10042"/>
              <a:gd name="connsiteX0" fmla="*/ 2443 w 31997"/>
              <a:gd name="connsiteY0" fmla="*/ 0 h 10042"/>
              <a:gd name="connsiteX1" fmla="*/ 2443 w 31997"/>
              <a:gd name="connsiteY1" fmla="*/ 1636 h 10042"/>
              <a:gd name="connsiteX2" fmla="*/ 1145 w 31997"/>
              <a:gd name="connsiteY2" fmla="*/ 2792 h 10042"/>
              <a:gd name="connsiteX3" fmla="*/ 0 w 31997"/>
              <a:gd name="connsiteY3" fmla="*/ 3073 h 10042"/>
              <a:gd name="connsiteX4" fmla="*/ 420 w 31997"/>
              <a:gd name="connsiteY4" fmla="*/ 3166 h 10042"/>
              <a:gd name="connsiteX5" fmla="*/ 2443 w 31997"/>
              <a:gd name="connsiteY5" fmla="*/ 4580 h 10042"/>
              <a:gd name="connsiteX6" fmla="*/ 2443 w 31997"/>
              <a:gd name="connsiteY6" fmla="*/ 10042 h 10042"/>
              <a:gd name="connsiteX7" fmla="*/ 31997 w 31997"/>
              <a:gd name="connsiteY7" fmla="*/ 10039 h 10042"/>
              <a:gd name="connsiteX8" fmla="*/ 31997 w 31997"/>
              <a:gd name="connsiteY8" fmla="*/ 0 h 10042"/>
              <a:gd name="connsiteX9" fmla="*/ 2443 w 31997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31997 w 40083"/>
              <a:gd name="connsiteY7" fmla="*/ 10039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40083 w 40083"/>
              <a:gd name="connsiteY8" fmla="*/ 0 h 10042"/>
              <a:gd name="connsiteX9" fmla="*/ 2443 w 40083"/>
              <a:gd name="connsiteY9" fmla="*/ 0 h 10042"/>
              <a:gd name="connsiteX0" fmla="*/ 2443 w 40083"/>
              <a:gd name="connsiteY0" fmla="*/ 0 h 10042"/>
              <a:gd name="connsiteX1" fmla="*/ 2443 w 40083"/>
              <a:gd name="connsiteY1" fmla="*/ 1636 h 10042"/>
              <a:gd name="connsiteX2" fmla="*/ 1145 w 40083"/>
              <a:gd name="connsiteY2" fmla="*/ 2792 h 10042"/>
              <a:gd name="connsiteX3" fmla="*/ 0 w 40083"/>
              <a:gd name="connsiteY3" fmla="*/ 3073 h 10042"/>
              <a:gd name="connsiteX4" fmla="*/ 420 w 40083"/>
              <a:gd name="connsiteY4" fmla="*/ 3166 h 10042"/>
              <a:gd name="connsiteX5" fmla="*/ 2443 w 40083"/>
              <a:gd name="connsiteY5" fmla="*/ 4580 h 10042"/>
              <a:gd name="connsiteX6" fmla="*/ 2443 w 40083"/>
              <a:gd name="connsiteY6" fmla="*/ 10042 h 10042"/>
              <a:gd name="connsiteX7" fmla="*/ 40083 w 40083"/>
              <a:gd name="connsiteY7" fmla="*/ 10042 h 10042"/>
              <a:gd name="connsiteX8" fmla="*/ 24076 w 40083"/>
              <a:gd name="connsiteY8" fmla="*/ 14 h 10042"/>
              <a:gd name="connsiteX9" fmla="*/ 2443 w 40083"/>
              <a:gd name="connsiteY9" fmla="*/ 0 h 10042"/>
              <a:gd name="connsiteX0" fmla="*/ 2443 w 24076"/>
              <a:gd name="connsiteY0" fmla="*/ 0 h 10042"/>
              <a:gd name="connsiteX1" fmla="*/ 2443 w 24076"/>
              <a:gd name="connsiteY1" fmla="*/ 1636 h 10042"/>
              <a:gd name="connsiteX2" fmla="*/ 1145 w 24076"/>
              <a:gd name="connsiteY2" fmla="*/ 2792 h 10042"/>
              <a:gd name="connsiteX3" fmla="*/ 0 w 24076"/>
              <a:gd name="connsiteY3" fmla="*/ 3073 h 10042"/>
              <a:gd name="connsiteX4" fmla="*/ 420 w 24076"/>
              <a:gd name="connsiteY4" fmla="*/ 3166 h 10042"/>
              <a:gd name="connsiteX5" fmla="*/ 2443 w 24076"/>
              <a:gd name="connsiteY5" fmla="*/ 4580 h 10042"/>
              <a:gd name="connsiteX6" fmla="*/ 2443 w 24076"/>
              <a:gd name="connsiteY6" fmla="*/ 10042 h 10042"/>
              <a:gd name="connsiteX7" fmla="*/ 24076 w 24076"/>
              <a:gd name="connsiteY7" fmla="*/ 10042 h 10042"/>
              <a:gd name="connsiteX8" fmla="*/ 24076 w 24076"/>
              <a:gd name="connsiteY8" fmla="*/ 14 h 10042"/>
              <a:gd name="connsiteX9" fmla="*/ 2443 w 24076"/>
              <a:gd name="connsiteY9" fmla="*/ 0 h 10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76" h="10042">
                <a:moveTo>
                  <a:pt x="2443" y="0"/>
                </a:moveTo>
                <a:lnTo>
                  <a:pt x="2443" y="1636"/>
                </a:lnTo>
                <a:cubicBezTo>
                  <a:pt x="2443" y="2080"/>
                  <a:pt x="2023" y="2477"/>
                  <a:pt x="1145" y="2792"/>
                </a:cubicBezTo>
                <a:cubicBezTo>
                  <a:pt x="821" y="2898"/>
                  <a:pt x="439" y="2967"/>
                  <a:pt x="0" y="3073"/>
                </a:cubicBezTo>
                <a:cubicBezTo>
                  <a:pt x="153" y="3110"/>
                  <a:pt x="286" y="3143"/>
                  <a:pt x="420" y="3166"/>
                </a:cubicBezTo>
                <a:cubicBezTo>
                  <a:pt x="1813" y="3494"/>
                  <a:pt x="2443" y="3975"/>
                  <a:pt x="2443" y="4580"/>
                </a:cubicBezTo>
                <a:lnTo>
                  <a:pt x="2443" y="10042"/>
                </a:lnTo>
                <a:lnTo>
                  <a:pt x="24076" y="10042"/>
                </a:lnTo>
                <a:lnTo>
                  <a:pt x="24076" y="14"/>
                </a:lnTo>
                <a:lnTo>
                  <a:pt x="2443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kern="1200" noProof="0">
              <a:solidFill>
                <a:schemeClr val="bg2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4326" y="962025"/>
            <a:ext cx="3124200" cy="2248140"/>
          </a:xfrm>
          <a:prstGeom prst="rect">
            <a:avLst/>
          </a:prstGeom>
        </p:spPr>
        <p:txBody>
          <a:bodyPr lIns="180000" tIns="33059" rIns="36000" bIns="33059" anchor="ctr" anchorCtr="0"/>
          <a:lstStyle>
            <a:lvl1pPr algn="l">
              <a:defRPr lang="en-US" sz="4000" b="1" kern="1200" baseline="0" noProof="0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l" defTabSz="839694" rtl="0" eaLnBrk="1" latinLnBrk="0" hangingPunct="1">
              <a:spcBef>
                <a:spcPct val="0"/>
              </a:spcBef>
              <a:buNone/>
            </a:pPr>
            <a:r>
              <a:rPr lang="en-US" noProof="0" dirty="0" smtClean="0"/>
              <a:t>Click here to edit master text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4140000" y="1512000"/>
            <a:ext cx="5256213" cy="478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1494765"/>
            <a:ext cx="958260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323392" y="2111956"/>
            <a:ext cx="9582608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23487" y="1495447"/>
            <a:ext cx="9598643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1533439"/>
            <a:ext cx="4502138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1533440"/>
            <a:ext cx="4502138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314709" y="2206953"/>
            <a:ext cx="4502138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5022838" y="2208394"/>
            <a:ext cx="4502138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14710" y="1542648"/>
            <a:ext cx="4502138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23145" y="1533439"/>
            <a:ext cx="4502138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37533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37533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51356" y="1436915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51356" y="1902609"/>
            <a:ext cx="4645914" cy="1861869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237533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237533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51356" y="3820890"/>
            <a:ext cx="4645914" cy="518130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5051356" y="4286584"/>
            <a:ext cx="4645914" cy="2011680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1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 smtClean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323392" y="1501977"/>
            <a:ext cx="943812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15"/>
            </p:custDataLst>
          </p:nvPr>
        </p:nvSpPr>
        <p:spPr>
          <a:xfrm>
            <a:off x="9567490" y="6661691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741830" y="6623403"/>
            <a:ext cx="2660644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 smtClean="0">
                <a:solidFill>
                  <a:schemeClr val="tx2"/>
                </a:solidFill>
                <a:latin typeface="+mj-lt"/>
                <a:cs typeface="Helvetica Light"/>
              </a:rPr>
              <a:t>Copyright © Capgemini 2016. All Rights Reserved</a:t>
            </a: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>
          <a:xfrm>
            <a:off x="7487920" y="6427223"/>
            <a:ext cx="1914554" cy="195814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/>
          <a:p>
            <a:pPr algn="r"/>
            <a:r>
              <a:rPr lang="en-US" sz="700" dirty="0" smtClean="0">
                <a:solidFill>
                  <a:schemeClr val="tx2"/>
                </a:solidFill>
                <a:latin typeface="+mj-lt"/>
              </a:rPr>
              <a:t>Presentation Title | Date</a:t>
            </a:r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5"/>
          <p:cNvCxnSpPr/>
          <p:nvPr>
            <p:custDataLst>
              <p:tags r:id="rId19"/>
            </p:custDataLst>
          </p:nvPr>
        </p:nvCxnSpPr>
        <p:spPr>
          <a:xfrm flipH="1">
            <a:off x="2" y="6362700"/>
            <a:ext cx="9905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18184" y="6419977"/>
            <a:ext cx="1440000" cy="3430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89" r:id="rId2"/>
    <p:sldLayoutId id="2147483965" r:id="rId3"/>
    <p:sldLayoutId id="2147483966" r:id="rId4"/>
    <p:sldLayoutId id="2147483962" r:id="rId5"/>
    <p:sldLayoutId id="2147483963" r:id="rId6"/>
    <p:sldLayoutId id="2147483968" r:id="rId7"/>
    <p:sldLayoutId id="2147483964" r:id="rId8"/>
    <p:sldLayoutId id="2147483934" r:id="rId9"/>
  </p:sldLayoutIdLst>
  <p:timing>
    <p:tnLst>
      <p:par>
        <p:cTn id="1" dur="indefinite" restart="never" nodeType="tmRoot"/>
      </p:par>
    </p:tnLst>
  </p:timing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ngularjs.org/" TargetMode="External"/><Relationship Id="rId2" Type="http://schemas.openxmlformats.org/officeDocument/2006/relationships/hyperlink" Target="http://www.w3schools.com/angular/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hyperlink" Target="https://angular.io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597159" y="3161808"/>
            <a:ext cx="5952931" cy="1098157"/>
          </a:xfrm>
        </p:spPr>
        <p:txBody>
          <a:bodyPr/>
          <a:lstStyle/>
          <a:p>
            <a:r>
              <a:rPr lang="en-US" dirty="0" smtClean="0"/>
              <a:t>Angular 1.6.1 Introduction Lot4 Team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ustaq Hussain</a:t>
            </a:r>
          </a:p>
          <a:p>
            <a:r>
              <a:rPr lang="en-US" dirty="0" smtClean="0"/>
              <a:t>24</a:t>
            </a:r>
            <a:r>
              <a:rPr lang="en-US" baseline="30000" dirty="0" smtClean="0"/>
              <a:t>th</a:t>
            </a:r>
            <a:r>
              <a:rPr lang="en-US" dirty="0" smtClean="0"/>
              <a:t> January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roller cont.. Example 3.html (left out 4.html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View </a:t>
            </a:r>
            <a:r>
              <a:rPr lang="en-GB" dirty="0" smtClean="0"/>
              <a:t>does not have </a:t>
            </a:r>
            <a:r>
              <a:rPr lang="en-GB" dirty="0"/>
              <a:t>to know about the C</a:t>
            </a:r>
            <a:r>
              <a:rPr lang="en-GB" dirty="0" smtClean="0"/>
              <a:t>ontroller</a:t>
            </a:r>
            <a:endParaRPr lang="en-GB" dirty="0"/>
          </a:p>
          <a:p>
            <a:r>
              <a:rPr lang="en-GB" dirty="0" smtClean="0"/>
              <a:t>Controller </a:t>
            </a:r>
            <a:r>
              <a:rPr lang="en-GB" b="1" dirty="0">
                <a:solidFill>
                  <a:srgbClr val="FF0000"/>
                </a:solidFill>
              </a:rPr>
              <a:t>should not know </a:t>
            </a:r>
            <a:r>
              <a:rPr lang="en-GB" dirty="0"/>
              <a:t>about the </a:t>
            </a:r>
            <a:r>
              <a:rPr lang="en-GB" dirty="0" smtClean="0"/>
              <a:t>View</a:t>
            </a:r>
          </a:p>
          <a:p>
            <a:pPr marL="0" indent="0">
              <a:buNone/>
            </a:pPr>
            <a:r>
              <a:rPr lang="en-GB" dirty="0" smtClean="0"/>
              <a:t>(bind to different </a:t>
            </a:r>
            <a:r>
              <a:rPr lang="en-GB" dirty="0"/>
              <a:t>views - a mobile view, desktop </a:t>
            </a:r>
            <a:r>
              <a:rPr lang="en-GB" dirty="0" smtClean="0"/>
              <a:t>view, .. see routing later)</a:t>
            </a:r>
            <a:endParaRPr lang="en-GB" dirty="0"/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247" y="2752518"/>
            <a:ext cx="6619025" cy="350250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66738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0126" y="2221130"/>
            <a:ext cx="5599016" cy="404021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utes (e.g. http paths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 </a:t>
            </a:r>
            <a:r>
              <a:rPr lang="en-GB" b="1" dirty="0"/>
              <a:t>module</a:t>
            </a:r>
            <a:r>
              <a:rPr lang="en-GB" dirty="0"/>
              <a:t> can have </a:t>
            </a:r>
            <a:r>
              <a:rPr lang="en-GB" b="1" dirty="0" err="1" smtClean="0"/>
              <a:t>config</a:t>
            </a:r>
            <a:r>
              <a:rPr lang="en-GB" dirty="0" smtClean="0"/>
              <a:t> function which can </a:t>
            </a:r>
            <a:r>
              <a:rPr lang="en-GB" dirty="0"/>
              <a:t>be </a:t>
            </a:r>
            <a:r>
              <a:rPr lang="en-GB" dirty="0" smtClean="0"/>
              <a:t>used to associate different routes (http paths) with different </a:t>
            </a:r>
          </a:p>
          <a:p>
            <a:pPr marL="0" indent="0">
              <a:buNone/>
            </a:pPr>
            <a:r>
              <a:rPr lang="en-GB" dirty="0" smtClean="0"/>
              <a:t>  views/templates &amp; controllers (SPA)</a:t>
            </a:r>
          </a:p>
          <a:p>
            <a:endParaRPr lang="en-GB" b="1" dirty="0" smtClean="0"/>
          </a:p>
          <a:p>
            <a:r>
              <a:rPr lang="en-GB" b="1" dirty="0" smtClean="0"/>
              <a:t>ng-view</a:t>
            </a:r>
            <a:r>
              <a:rPr lang="en-GB" dirty="0" smtClean="0"/>
              <a:t> directive position where </a:t>
            </a:r>
          </a:p>
          <a:p>
            <a:pPr marL="0" indent="0">
              <a:buNone/>
            </a:pPr>
            <a:r>
              <a:rPr lang="en-GB" dirty="0" smtClean="0"/>
              <a:t>new view to be added in main layout</a:t>
            </a:r>
          </a:p>
          <a:p>
            <a:endParaRPr lang="en-GB" dirty="0" smtClean="0"/>
          </a:p>
          <a:p>
            <a:r>
              <a:rPr lang="en-GB" dirty="0" smtClean="0"/>
              <a:t>From Angular 1.2.0 route </a:t>
            </a:r>
          </a:p>
          <a:p>
            <a:pPr marL="0" indent="0">
              <a:buNone/>
            </a:pPr>
            <a:r>
              <a:rPr lang="en-GB" dirty="0" smtClean="0"/>
              <a:t>moved to a ‘dependent’</a:t>
            </a:r>
          </a:p>
          <a:p>
            <a:pPr marL="0" indent="0">
              <a:buNone/>
            </a:pPr>
            <a:r>
              <a:rPr lang="en-GB" dirty="0" smtClean="0"/>
              <a:t>module </a:t>
            </a:r>
          </a:p>
          <a:p>
            <a:r>
              <a:rPr lang="en-GB" dirty="0" smtClean="0"/>
              <a:t>Need Express running </a:t>
            </a:r>
          </a:p>
          <a:p>
            <a:pPr marL="0" indent="0">
              <a:buNone/>
            </a:pPr>
            <a:r>
              <a:rPr lang="en-GB" dirty="0" smtClean="0"/>
              <a:t>to handle http request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668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ute Example 5.html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7134" y="1526366"/>
            <a:ext cx="5141694" cy="46121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79567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itial Page Load Traffic</a:t>
            </a:r>
            <a:endParaRPr lang="en-GB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1898" y="1495425"/>
            <a:ext cx="7846054" cy="464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480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ge load of external-page only</a:t>
            </a:r>
            <a:endParaRPr lang="en-GB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1898" y="1495425"/>
            <a:ext cx="7846054" cy="464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261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</a:t>
            </a:r>
            <a:r>
              <a:rPr lang="en-GB" dirty="0" smtClean="0"/>
              <a:t>Angular 1.6.1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19201"/>
            <a:ext cx="9582608" cy="5128590"/>
          </a:xfrm>
        </p:spPr>
        <p:txBody>
          <a:bodyPr/>
          <a:lstStyle/>
          <a:p>
            <a:r>
              <a:rPr lang="en-GB" dirty="0" smtClean="0"/>
              <a:t>Angular 1.6.1 JavaScript </a:t>
            </a:r>
            <a:r>
              <a:rPr lang="en-GB" dirty="0"/>
              <a:t>library</a:t>
            </a:r>
          </a:p>
          <a:p>
            <a:r>
              <a:rPr lang="en-GB" dirty="0" smtClean="0"/>
              <a:t>Complete </a:t>
            </a:r>
            <a:r>
              <a:rPr lang="en-GB" dirty="0"/>
              <a:t>front-end web application framework </a:t>
            </a:r>
          </a:p>
          <a:p>
            <a:r>
              <a:rPr lang="en-GB" dirty="0" smtClean="0"/>
              <a:t>Extends </a:t>
            </a:r>
            <a:r>
              <a:rPr lang="en-GB" dirty="0"/>
              <a:t>HTML DOM with additional attributes</a:t>
            </a:r>
          </a:p>
          <a:p>
            <a:r>
              <a:rPr lang="en-GB" dirty="0" smtClean="0"/>
              <a:t>Used </a:t>
            </a:r>
            <a:r>
              <a:rPr lang="en-GB" dirty="0"/>
              <a:t>in developing single-page applications (SPA</a:t>
            </a:r>
            <a:r>
              <a:rPr lang="en-GB" dirty="0" smtClean="0"/>
              <a:t>)</a:t>
            </a:r>
          </a:p>
          <a:p>
            <a:endParaRPr lang="en-GB" dirty="0" smtClean="0">
              <a:hlinkClick r:id="rId2"/>
            </a:endParaRPr>
          </a:p>
          <a:p>
            <a:r>
              <a:rPr lang="en-GB" dirty="0" smtClean="0">
                <a:hlinkClick r:id="rId2"/>
              </a:rPr>
              <a:t>http</a:t>
            </a:r>
            <a:r>
              <a:rPr lang="en-GB" dirty="0">
                <a:hlinkClick r:id="rId2"/>
              </a:rPr>
              <a:t>://www.w3schools.com/angular</a:t>
            </a:r>
            <a:r>
              <a:rPr lang="en-GB" dirty="0" smtClean="0">
                <a:hlinkClick r:id="rId2"/>
              </a:rPr>
              <a:t>/</a:t>
            </a:r>
            <a:endParaRPr lang="en-GB" dirty="0" smtClean="0"/>
          </a:p>
          <a:p>
            <a:r>
              <a:rPr lang="en-GB" dirty="0">
                <a:hlinkClick r:id="rId3"/>
              </a:rPr>
              <a:t>https://angularjs.org</a:t>
            </a:r>
            <a:r>
              <a:rPr lang="en-GB" dirty="0" smtClean="0">
                <a:hlinkClick r:id="rId3"/>
              </a:rPr>
              <a:t>/</a:t>
            </a:r>
            <a:endParaRPr lang="en-GB" dirty="0" smtClean="0"/>
          </a:p>
          <a:p>
            <a:r>
              <a:rPr lang="en-GB" dirty="0">
                <a:hlinkClick r:id="rId4"/>
              </a:rPr>
              <a:t>https://angular.io</a:t>
            </a:r>
            <a:r>
              <a:rPr lang="en-GB" dirty="0" smtClean="0">
                <a:hlinkClick r:id="rId4"/>
              </a:rPr>
              <a:t>/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endParaRPr lang="en-GB" dirty="0" smtClean="0"/>
          </a:p>
          <a:p>
            <a:r>
              <a:rPr lang="en-GB" dirty="0"/>
              <a:t>Angular </a:t>
            </a:r>
            <a:r>
              <a:rPr lang="en-GB" dirty="0" smtClean="0"/>
              <a:t>2 </a:t>
            </a:r>
            <a:r>
              <a:rPr lang="en-GB" dirty="0" err="1" smtClean="0"/>
              <a:t>TypeScript</a:t>
            </a:r>
            <a:r>
              <a:rPr lang="en-GB" dirty="0" smtClean="0"/>
              <a:t> </a:t>
            </a:r>
          </a:p>
          <a:p>
            <a:pPr marL="0" indent="0">
              <a:buNone/>
            </a:pPr>
            <a:r>
              <a:rPr lang="en-GB" dirty="0" smtClean="0"/>
              <a:t>(future sessions)</a:t>
            </a:r>
            <a:endParaRPr lang="en-GB" dirty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5"/>
          <a:stretch>
            <a:fillRect/>
          </a:stretch>
        </p:blipFill>
        <p:spPr>
          <a:xfrm>
            <a:off x="5061688" y="3193773"/>
            <a:ext cx="4791304" cy="304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23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ingle Page Application (SPA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58957"/>
            <a:ext cx="9582608" cy="514780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A traditional </a:t>
            </a:r>
            <a:r>
              <a:rPr lang="en-GB" dirty="0" smtClean="0"/>
              <a:t>Web Page typically</a:t>
            </a:r>
            <a:r>
              <a:rPr lang="en-GB" dirty="0"/>
              <a:t>:</a:t>
            </a:r>
          </a:p>
          <a:p>
            <a:pPr lvl="1"/>
            <a:r>
              <a:rPr lang="en-GB" dirty="0"/>
              <a:t>Loads &amp; re-loads whole </a:t>
            </a:r>
            <a:r>
              <a:rPr lang="en-GB" dirty="0" smtClean="0"/>
              <a:t>pages </a:t>
            </a:r>
            <a:r>
              <a:rPr lang="en-GB" dirty="0"/>
              <a:t>(images, </a:t>
            </a:r>
            <a:r>
              <a:rPr lang="en-GB" dirty="0" err="1"/>
              <a:t>css</a:t>
            </a:r>
            <a:r>
              <a:rPr lang="en-GB" dirty="0"/>
              <a:t>, </a:t>
            </a:r>
            <a:r>
              <a:rPr lang="en-GB" dirty="0" err="1"/>
              <a:t>js</a:t>
            </a:r>
            <a:r>
              <a:rPr lang="en-GB" dirty="0"/>
              <a:t>) on every </a:t>
            </a:r>
            <a:r>
              <a:rPr lang="en-GB" dirty="0" smtClean="0"/>
              <a:t>request</a:t>
            </a:r>
            <a:endParaRPr lang="en-GB" dirty="0"/>
          </a:p>
          <a:p>
            <a:pPr lvl="1"/>
            <a:r>
              <a:rPr lang="en-GB" dirty="0" smtClean="0"/>
              <a:t>Not </a:t>
            </a:r>
            <a:r>
              <a:rPr lang="en-GB" dirty="0"/>
              <a:t>very efficient on the bandwidth, especially </a:t>
            </a:r>
            <a:r>
              <a:rPr lang="en-GB" dirty="0" smtClean="0"/>
              <a:t>for mobiles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In </a:t>
            </a:r>
            <a:r>
              <a:rPr lang="en-GB" dirty="0"/>
              <a:t>a SPA:</a:t>
            </a:r>
          </a:p>
          <a:p>
            <a:r>
              <a:rPr lang="en-GB" dirty="0"/>
              <a:t>L</a:t>
            </a:r>
            <a:r>
              <a:rPr lang="en-GB" dirty="0" smtClean="0"/>
              <a:t>oad </a:t>
            </a:r>
            <a:r>
              <a:rPr lang="en-GB" dirty="0"/>
              <a:t>the initial </a:t>
            </a:r>
            <a:r>
              <a:rPr lang="en-GB" dirty="0" smtClean="0"/>
              <a:t>content/main layout</a:t>
            </a:r>
            <a:endParaRPr lang="en-GB" dirty="0"/>
          </a:p>
          <a:p>
            <a:r>
              <a:rPr lang="en-GB" dirty="0" smtClean="0"/>
              <a:t>On the fly load a ‘mini-view/page’ &amp; embed in main layout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696" y="3976317"/>
            <a:ext cx="4373880" cy="23774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14" y="3953457"/>
            <a:ext cx="4366260" cy="24003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399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gular Full featured SPA Framework</a:t>
            </a:r>
            <a:endParaRPr lang="en-GB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346" y="1495425"/>
            <a:ext cx="6377157" cy="46434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57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 1.htm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4050" y="1165378"/>
            <a:ext cx="60579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1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rectiv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ng</a:t>
            </a:r>
            <a:r>
              <a:rPr lang="en-GB" dirty="0"/>
              <a:t>-prefix </a:t>
            </a:r>
            <a:r>
              <a:rPr lang="en-GB" dirty="0" smtClean="0"/>
              <a:t>– Angular directive </a:t>
            </a:r>
            <a:r>
              <a:rPr lang="en-GB" dirty="0"/>
              <a:t>are special attributes that </a:t>
            </a:r>
            <a:r>
              <a:rPr lang="en-GB" dirty="0" smtClean="0"/>
              <a:t>extend HTML</a:t>
            </a:r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Common directives:</a:t>
            </a:r>
            <a:endParaRPr lang="en-GB" dirty="0"/>
          </a:p>
          <a:p>
            <a:r>
              <a:rPr lang="en-GB" b="1" dirty="0"/>
              <a:t>ng-app</a:t>
            </a:r>
            <a:r>
              <a:rPr lang="en-GB" dirty="0"/>
              <a:t> - </a:t>
            </a:r>
            <a:r>
              <a:rPr lang="en-GB" dirty="0" smtClean="0"/>
              <a:t>Starts </a:t>
            </a:r>
            <a:r>
              <a:rPr lang="en-GB" dirty="0"/>
              <a:t>an </a:t>
            </a:r>
            <a:r>
              <a:rPr lang="en-GB" dirty="0" smtClean="0"/>
              <a:t>Angular application</a:t>
            </a:r>
            <a:endParaRPr lang="en-GB" dirty="0"/>
          </a:p>
          <a:p>
            <a:r>
              <a:rPr lang="en-GB" b="1" dirty="0"/>
              <a:t>ng-</a:t>
            </a:r>
            <a:r>
              <a:rPr lang="en-GB" b="1" dirty="0" err="1"/>
              <a:t>init</a:t>
            </a:r>
            <a:r>
              <a:rPr lang="en-GB" dirty="0"/>
              <a:t> - </a:t>
            </a:r>
            <a:r>
              <a:rPr lang="en-GB" dirty="0" smtClean="0"/>
              <a:t>Initializes </a:t>
            </a:r>
            <a:r>
              <a:rPr lang="en-GB" dirty="0"/>
              <a:t>application </a:t>
            </a:r>
            <a:r>
              <a:rPr lang="en-GB" dirty="0" smtClean="0"/>
              <a:t>data</a:t>
            </a:r>
            <a:endParaRPr lang="en-GB" dirty="0"/>
          </a:p>
          <a:p>
            <a:r>
              <a:rPr lang="en-GB" b="1" dirty="0"/>
              <a:t>ng-model</a:t>
            </a:r>
            <a:r>
              <a:rPr lang="en-GB" dirty="0"/>
              <a:t> - </a:t>
            </a:r>
            <a:r>
              <a:rPr lang="en-GB" dirty="0" smtClean="0"/>
              <a:t>Defines a variable to </a:t>
            </a:r>
            <a:r>
              <a:rPr lang="en-GB" dirty="0"/>
              <a:t>be used </a:t>
            </a:r>
            <a:r>
              <a:rPr lang="en-GB" dirty="0" smtClean="0"/>
              <a:t>in </a:t>
            </a:r>
            <a:r>
              <a:rPr lang="en-GB" dirty="0" err="1" smtClean="0"/>
              <a:t>Angular’s</a:t>
            </a:r>
            <a:r>
              <a:rPr lang="en-GB" dirty="0" smtClean="0"/>
              <a:t> ‘$scope</a:t>
            </a:r>
            <a:r>
              <a:rPr lang="en-GB" dirty="0"/>
              <a:t>’</a:t>
            </a:r>
          </a:p>
          <a:p>
            <a:r>
              <a:rPr lang="en-GB" b="1" dirty="0"/>
              <a:t>ng-repeat</a:t>
            </a:r>
            <a:r>
              <a:rPr lang="en-GB" dirty="0"/>
              <a:t> - Repeats HTML elements for each item in a </a:t>
            </a:r>
            <a:r>
              <a:rPr lang="en-GB" dirty="0" smtClean="0"/>
              <a:t>collection</a:t>
            </a:r>
          </a:p>
          <a:p>
            <a:r>
              <a:rPr lang="en-GB" b="1" dirty="0" smtClean="0"/>
              <a:t>ng-view</a:t>
            </a:r>
            <a:r>
              <a:rPr lang="en-GB" dirty="0" smtClean="0"/>
              <a:t> – Include template/view location into main layout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538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lters – Example 2.htm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392" y="1272209"/>
            <a:ext cx="9582608" cy="486630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Apply a filter to the data model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by </a:t>
            </a:r>
            <a:r>
              <a:rPr lang="en-GB" dirty="0"/>
              <a:t>using a </a:t>
            </a:r>
            <a:r>
              <a:rPr lang="en-GB" dirty="0" smtClean="0"/>
              <a:t>pipe </a:t>
            </a:r>
            <a:r>
              <a:rPr lang="en-GB" dirty="0"/>
              <a:t>[|]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separator </a:t>
            </a:r>
            <a:r>
              <a:rPr lang="en-GB" dirty="0"/>
              <a:t>between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the </a:t>
            </a:r>
            <a:r>
              <a:rPr lang="en-GB" dirty="0"/>
              <a:t>data binding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statement </a:t>
            </a:r>
            <a:r>
              <a:rPr lang="en-GB" dirty="0"/>
              <a:t>and 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built </a:t>
            </a:r>
            <a:r>
              <a:rPr lang="en-GB" dirty="0"/>
              <a:t>in </a:t>
            </a:r>
            <a:r>
              <a:rPr lang="en-GB" b="1" dirty="0"/>
              <a:t>filter</a:t>
            </a:r>
            <a:endParaRPr lang="en-GB" dirty="0"/>
          </a:p>
          <a:p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/>
          <a:stretch>
            <a:fillRect/>
          </a:stretch>
        </p:blipFill>
        <p:spPr>
          <a:xfrm>
            <a:off x="536327" y="3591339"/>
            <a:ext cx="1809308" cy="2638562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4"/>
          <a:stretch>
            <a:fillRect/>
          </a:stretch>
        </p:blipFill>
        <p:spPr>
          <a:xfrm>
            <a:off x="2928731" y="1669774"/>
            <a:ext cx="6771861" cy="462500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1579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dules are JavaScript Containers</a:t>
            </a:r>
            <a:endParaRPr lang="en-GB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191" y="1495425"/>
            <a:ext cx="7851617" cy="46434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8828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roll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ngular was using </a:t>
            </a:r>
            <a:r>
              <a:rPr lang="en-GB" b="1" dirty="0" smtClean="0"/>
              <a:t>HTML</a:t>
            </a:r>
            <a:r>
              <a:rPr lang="en-GB" dirty="0" smtClean="0"/>
              <a:t> with </a:t>
            </a:r>
            <a:r>
              <a:rPr lang="en-GB" b="1" dirty="0"/>
              <a:t>Directives</a:t>
            </a:r>
            <a:r>
              <a:rPr lang="en-GB" dirty="0"/>
              <a:t>, </a:t>
            </a:r>
            <a:r>
              <a:rPr lang="en-GB" b="1" dirty="0"/>
              <a:t>Filters</a:t>
            </a:r>
            <a:r>
              <a:rPr lang="en-GB" dirty="0"/>
              <a:t> and </a:t>
            </a:r>
            <a:r>
              <a:rPr lang="en-GB" b="1" dirty="0"/>
              <a:t>Data Binding</a:t>
            </a:r>
            <a:r>
              <a:rPr lang="en-GB" dirty="0"/>
              <a:t>.</a:t>
            </a:r>
          </a:p>
          <a:p>
            <a:r>
              <a:rPr lang="en-GB" dirty="0"/>
              <a:t>Should not put business logic into the </a:t>
            </a:r>
            <a:r>
              <a:rPr lang="en-GB" b="1" dirty="0"/>
              <a:t>View</a:t>
            </a:r>
            <a:r>
              <a:rPr lang="en-GB" dirty="0"/>
              <a:t> because </a:t>
            </a:r>
            <a:r>
              <a:rPr lang="en-GB" dirty="0" smtClean="0"/>
              <a:t>of maintainable and not testable</a:t>
            </a:r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b="1" dirty="0"/>
              <a:t>Controllers</a:t>
            </a:r>
            <a:r>
              <a:rPr lang="en-GB" dirty="0"/>
              <a:t> </a:t>
            </a:r>
            <a:r>
              <a:rPr lang="en-GB" dirty="0" smtClean="0"/>
              <a:t>are </a:t>
            </a:r>
          </a:p>
          <a:p>
            <a:r>
              <a:rPr lang="en-GB" dirty="0" smtClean="0"/>
              <a:t>JavaScript objects</a:t>
            </a:r>
          </a:p>
          <a:p>
            <a:r>
              <a:rPr lang="en-GB" dirty="0" smtClean="0"/>
              <a:t>Contain </a:t>
            </a:r>
            <a:r>
              <a:rPr lang="en-GB" dirty="0"/>
              <a:t>attributes/properties, </a:t>
            </a:r>
            <a:r>
              <a:rPr lang="en-GB" dirty="0" smtClean="0"/>
              <a:t>and functions</a:t>
            </a:r>
            <a:endParaRPr lang="en-GB" dirty="0"/>
          </a:p>
          <a:p>
            <a:r>
              <a:rPr lang="en-GB" dirty="0"/>
              <a:t>S</a:t>
            </a:r>
            <a:r>
              <a:rPr lang="en-GB" dirty="0" smtClean="0"/>
              <a:t>hould contain business logic – should drive things</a:t>
            </a:r>
            <a:endParaRPr lang="en-GB" dirty="0"/>
          </a:p>
          <a:p>
            <a:r>
              <a:rPr lang="en-GB" dirty="0" smtClean="0"/>
              <a:t>Controls </a:t>
            </a:r>
            <a:r>
              <a:rPr lang="en-GB" dirty="0"/>
              <a:t>what data gets bound to the </a:t>
            </a:r>
            <a:r>
              <a:rPr lang="en-GB" b="1" dirty="0"/>
              <a:t>View</a:t>
            </a:r>
            <a:r>
              <a:rPr lang="en-GB" dirty="0"/>
              <a:t> via the </a:t>
            </a:r>
            <a:r>
              <a:rPr lang="en-GB" b="1" dirty="0" smtClean="0"/>
              <a:t>$scope </a:t>
            </a:r>
            <a:r>
              <a:rPr lang="en-GB" dirty="0"/>
              <a:t>object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453" y="4821054"/>
            <a:ext cx="5731510" cy="12274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423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9AyfU70.O66e.c9Fk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t7HR0uEmHGOBxH6tj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q26z0rEkWiApiWfpk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5J2dxDUm3Ma.7NhQK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heme/theme1.xml><?xml version="1.0" encoding="utf-8"?>
<a:theme xmlns:a="http://schemas.openxmlformats.org/drawingml/2006/main" name="ppt_Template_CoverOption1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break">
  <a:themeElements>
    <a:clrScheme name="Capgemini Palette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CoverOption1</Template>
  <TotalTime>893</TotalTime>
  <Words>413</Words>
  <Application>Microsoft Office PowerPoint</Application>
  <PresentationFormat>A4 Paper (210x297 mm)</PresentationFormat>
  <Paragraphs>85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Helvetica Light</vt:lpstr>
      <vt:lpstr>Wingdings</vt:lpstr>
      <vt:lpstr>ppt_Template_CoverOption1</vt:lpstr>
      <vt:lpstr>Section break</vt:lpstr>
      <vt:lpstr>think-cell Slide</vt:lpstr>
      <vt:lpstr>Angular 1.6.1 Introduction Lot4 Team</vt:lpstr>
      <vt:lpstr>What is Angular 1.6.1?</vt:lpstr>
      <vt:lpstr>Single Page Application (SPA)</vt:lpstr>
      <vt:lpstr>Angular Full featured SPA Framework</vt:lpstr>
      <vt:lpstr>Example 1.html</vt:lpstr>
      <vt:lpstr>Directives</vt:lpstr>
      <vt:lpstr>Filters – Example 2.html</vt:lpstr>
      <vt:lpstr>Modules are JavaScript Containers</vt:lpstr>
      <vt:lpstr>Controller</vt:lpstr>
      <vt:lpstr>Controller cont.. Example 3.html (left out 4.html)</vt:lpstr>
      <vt:lpstr>Routes (e.g. http paths)</vt:lpstr>
      <vt:lpstr>Route Example 5.html</vt:lpstr>
      <vt:lpstr>Initial Page Load Traffic</vt:lpstr>
      <vt:lpstr>Page load of external-page only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subject>ppt Template</dc:subject>
  <dc:creator>jtucknot</dc:creator>
  <cp:lastModifiedBy>Hussain, Mustaq</cp:lastModifiedBy>
  <cp:revision>75</cp:revision>
  <dcterms:created xsi:type="dcterms:W3CDTF">2016-02-17T09:58:27Z</dcterms:created>
  <dcterms:modified xsi:type="dcterms:W3CDTF">2017-01-24T11:33:08Z</dcterms:modified>
</cp:coreProperties>
</file>